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4"/>
  </p:sldMasterIdLst>
  <p:notesMasterIdLst>
    <p:notesMasterId r:id="rId20"/>
  </p:notesMasterIdLst>
  <p:handoutMasterIdLst>
    <p:handoutMasterId r:id="rId21"/>
  </p:handoutMasterIdLst>
  <p:sldIdLst>
    <p:sldId id="262" r:id="rId5"/>
    <p:sldId id="306" r:id="rId6"/>
    <p:sldId id="283" r:id="rId7"/>
    <p:sldId id="280" r:id="rId8"/>
    <p:sldId id="286" r:id="rId9"/>
    <p:sldId id="285" r:id="rId10"/>
    <p:sldId id="290" r:id="rId11"/>
    <p:sldId id="302" r:id="rId12"/>
    <p:sldId id="301" r:id="rId13"/>
    <p:sldId id="292" r:id="rId14"/>
    <p:sldId id="293" r:id="rId15"/>
    <p:sldId id="307" r:id="rId16"/>
    <p:sldId id="308" r:id="rId17"/>
    <p:sldId id="309" r:id="rId18"/>
    <p:sldId id="304" r:id="rId19"/>
  </p:sldIdLst>
  <p:sldSz cx="12192000" cy="6858000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 userDrawn="1">
          <p15:clr>
            <a:srgbClr val="A4A3A4"/>
          </p15:clr>
        </p15:guide>
        <p15:guide id="2" pos="34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4333"/>
    <a:srgbClr val="EEEA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D3EFE4-96BD-484C-B817-A897FD293D0A}" v="14" dt="2024-10-30T08:57:13.8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36" autoAdjust="0"/>
    <p:restoredTop sz="93557" autoAdjust="0"/>
  </p:normalViewPr>
  <p:slideViewPr>
    <p:cSldViewPr snapToGrid="0" snapToObjects="1" showGuides="1">
      <p:cViewPr varScale="1">
        <p:scale>
          <a:sx n="60" d="100"/>
          <a:sy n="60" d="100"/>
        </p:scale>
        <p:origin x="956" y="48"/>
      </p:cViewPr>
      <p:guideLst>
        <p:guide orient="horz" pos="2827"/>
        <p:guide pos="3497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NTIS Valentine" userId="245efd82-0d43-4922-a685-87f861c39e87" providerId="ADAL" clId="{0AD3EFE4-96BD-484C-B817-A897FD293D0A}"/>
    <pc:docChg chg="custSel modSld">
      <pc:chgData name="SENTIS Valentine" userId="245efd82-0d43-4922-a685-87f861c39e87" providerId="ADAL" clId="{0AD3EFE4-96BD-484C-B817-A897FD293D0A}" dt="2024-11-07T10:45:47.158" v="207" actId="20577"/>
      <pc:docMkLst>
        <pc:docMk/>
      </pc:docMkLst>
      <pc:sldChg chg="addSp delSp modSp mod">
        <pc:chgData name="SENTIS Valentine" userId="245efd82-0d43-4922-a685-87f861c39e87" providerId="ADAL" clId="{0AD3EFE4-96BD-484C-B817-A897FD293D0A}" dt="2024-10-30T08:56:20.001" v="19" actId="21"/>
        <pc:sldMkLst>
          <pc:docMk/>
          <pc:sldMk cId="2180989171" sldId="262"/>
        </pc:sldMkLst>
        <pc:spChg chg="add del mod">
          <ac:chgData name="SENTIS Valentine" userId="245efd82-0d43-4922-a685-87f861c39e87" providerId="ADAL" clId="{0AD3EFE4-96BD-484C-B817-A897FD293D0A}" dt="2024-10-30T08:56:20.001" v="19" actId="21"/>
          <ac:spMkLst>
            <pc:docMk/>
            <pc:sldMk cId="2180989171" sldId="262"/>
            <ac:spMk id="2" creationId="{152B397B-C768-0486-6BC1-36EEB53D0C64}"/>
          </ac:spMkLst>
        </pc:spChg>
      </pc:sldChg>
      <pc:sldChg chg="addSp modSp">
        <pc:chgData name="SENTIS Valentine" userId="245efd82-0d43-4922-a685-87f861c39e87" providerId="ADAL" clId="{0AD3EFE4-96BD-484C-B817-A897FD293D0A}" dt="2024-10-30T08:56:59.696" v="27"/>
        <pc:sldMkLst>
          <pc:docMk/>
          <pc:sldMk cId="2594351369" sldId="280"/>
        </pc:sldMkLst>
        <pc:spChg chg="add mod">
          <ac:chgData name="SENTIS Valentine" userId="245efd82-0d43-4922-a685-87f861c39e87" providerId="ADAL" clId="{0AD3EFE4-96BD-484C-B817-A897FD293D0A}" dt="2024-10-30T08:56:59.696" v="27"/>
          <ac:spMkLst>
            <pc:docMk/>
            <pc:sldMk cId="2594351369" sldId="280"/>
            <ac:spMk id="2" creationId="{886D31E4-C71D-C555-8302-DDD62E5A5289}"/>
          </ac:spMkLst>
        </pc:spChg>
      </pc:sldChg>
      <pc:sldChg chg="addSp modSp">
        <pc:chgData name="SENTIS Valentine" userId="245efd82-0d43-4922-a685-87f861c39e87" providerId="ADAL" clId="{0AD3EFE4-96BD-484C-B817-A897FD293D0A}" dt="2024-10-30T08:56:56.597" v="26"/>
        <pc:sldMkLst>
          <pc:docMk/>
          <pc:sldMk cId="710601162" sldId="283"/>
        </pc:sldMkLst>
        <pc:spChg chg="add mod">
          <ac:chgData name="SENTIS Valentine" userId="245efd82-0d43-4922-a685-87f861c39e87" providerId="ADAL" clId="{0AD3EFE4-96BD-484C-B817-A897FD293D0A}" dt="2024-10-30T08:56:56.597" v="26"/>
          <ac:spMkLst>
            <pc:docMk/>
            <pc:sldMk cId="710601162" sldId="283"/>
            <ac:spMk id="11" creationId="{7C11AE84-B925-804B-4EDF-41411F407609}"/>
          </ac:spMkLst>
        </pc:spChg>
      </pc:sldChg>
      <pc:sldChg chg="addSp modSp">
        <pc:chgData name="SENTIS Valentine" userId="245efd82-0d43-4922-a685-87f861c39e87" providerId="ADAL" clId="{0AD3EFE4-96BD-484C-B817-A897FD293D0A}" dt="2024-10-30T08:57:02.450" v="29"/>
        <pc:sldMkLst>
          <pc:docMk/>
          <pc:sldMk cId="4064731237" sldId="285"/>
        </pc:sldMkLst>
        <pc:spChg chg="add mod">
          <ac:chgData name="SENTIS Valentine" userId="245efd82-0d43-4922-a685-87f861c39e87" providerId="ADAL" clId="{0AD3EFE4-96BD-484C-B817-A897FD293D0A}" dt="2024-10-30T08:57:02.450" v="29"/>
          <ac:spMkLst>
            <pc:docMk/>
            <pc:sldMk cId="4064731237" sldId="285"/>
            <ac:spMk id="2" creationId="{0C6D8C3A-55A1-09D7-3FD6-CE492B2E14BB}"/>
          </ac:spMkLst>
        </pc:spChg>
      </pc:sldChg>
      <pc:sldChg chg="addSp modSp">
        <pc:chgData name="SENTIS Valentine" userId="245efd82-0d43-4922-a685-87f861c39e87" providerId="ADAL" clId="{0AD3EFE4-96BD-484C-B817-A897FD293D0A}" dt="2024-10-30T08:57:00.925" v="28"/>
        <pc:sldMkLst>
          <pc:docMk/>
          <pc:sldMk cId="1045710081" sldId="286"/>
        </pc:sldMkLst>
        <pc:spChg chg="add mod">
          <ac:chgData name="SENTIS Valentine" userId="245efd82-0d43-4922-a685-87f861c39e87" providerId="ADAL" clId="{0AD3EFE4-96BD-484C-B817-A897FD293D0A}" dt="2024-10-30T08:57:00.925" v="28"/>
          <ac:spMkLst>
            <pc:docMk/>
            <pc:sldMk cId="1045710081" sldId="286"/>
            <ac:spMk id="3" creationId="{C7051554-0FF6-2DCA-D790-EEC27DF4DDE3}"/>
          </ac:spMkLst>
        </pc:spChg>
      </pc:sldChg>
      <pc:sldChg chg="addSp modSp">
        <pc:chgData name="SENTIS Valentine" userId="245efd82-0d43-4922-a685-87f861c39e87" providerId="ADAL" clId="{0AD3EFE4-96BD-484C-B817-A897FD293D0A}" dt="2024-10-30T08:57:03.440" v="30"/>
        <pc:sldMkLst>
          <pc:docMk/>
          <pc:sldMk cId="1726641251" sldId="290"/>
        </pc:sldMkLst>
        <pc:spChg chg="add mod">
          <ac:chgData name="SENTIS Valentine" userId="245efd82-0d43-4922-a685-87f861c39e87" providerId="ADAL" clId="{0AD3EFE4-96BD-484C-B817-A897FD293D0A}" dt="2024-10-30T08:57:03.440" v="30"/>
          <ac:spMkLst>
            <pc:docMk/>
            <pc:sldMk cId="1726641251" sldId="290"/>
            <ac:spMk id="3" creationId="{407883CD-0666-BB89-A170-EA71E98A3E28}"/>
          </ac:spMkLst>
        </pc:spChg>
      </pc:sldChg>
      <pc:sldChg chg="addSp modSp">
        <pc:chgData name="SENTIS Valentine" userId="245efd82-0d43-4922-a685-87f861c39e87" providerId="ADAL" clId="{0AD3EFE4-96BD-484C-B817-A897FD293D0A}" dt="2024-10-30T08:57:07.936" v="33"/>
        <pc:sldMkLst>
          <pc:docMk/>
          <pc:sldMk cId="3263114173" sldId="292"/>
        </pc:sldMkLst>
        <pc:spChg chg="add mod">
          <ac:chgData name="SENTIS Valentine" userId="245efd82-0d43-4922-a685-87f861c39e87" providerId="ADAL" clId="{0AD3EFE4-96BD-484C-B817-A897FD293D0A}" dt="2024-10-30T08:57:07.936" v="33"/>
          <ac:spMkLst>
            <pc:docMk/>
            <pc:sldMk cId="3263114173" sldId="292"/>
            <ac:spMk id="3" creationId="{4455B9E8-8A33-0D21-07E9-DEA392FB1F74}"/>
          </ac:spMkLst>
        </pc:spChg>
      </pc:sldChg>
      <pc:sldChg chg="addSp modSp">
        <pc:chgData name="SENTIS Valentine" userId="245efd82-0d43-4922-a685-87f861c39e87" providerId="ADAL" clId="{0AD3EFE4-96BD-484C-B817-A897FD293D0A}" dt="2024-10-30T08:57:08.882" v="34"/>
        <pc:sldMkLst>
          <pc:docMk/>
          <pc:sldMk cId="3358981200" sldId="293"/>
        </pc:sldMkLst>
        <pc:spChg chg="add mod">
          <ac:chgData name="SENTIS Valentine" userId="245efd82-0d43-4922-a685-87f861c39e87" providerId="ADAL" clId="{0AD3EFE4-96BD-484C-B817-A897FD293D0A}" dt="2024-10-30T08:57:08.882" v="34"/>
          <ac:spMkLst>
            <pc:docMk/>
            <pc:sldMk cId="3358981200" sldId="293"/>
            <ac:spMk id="2" creationId="{8D8BD097-9FF4-99C2-6CBC-1CB4A1495886}"/>
          </ac:spMkLst>
        </pc:spChg>
      </pc:sldChg>
      <pc:sldChg chg="addSp modSp">
        <pc:chgData name="SENTIS Valentine" userId="245efd82-0d43-4922-a685-87f861c39e87" providerId="ADAL" clId="{0AD3EFE4-96BD-484C-B817-A897FD293D0A}" dt="2024-10-30T08:57:06.348" v="32"/>
        <pc:sldMkLst>
          <pc:docMk/>
          <pc:sldMk cId="524006569" sldId="301"/>
        </pc:sldMkLst>
        <pc:spChg chg="add mod">
          <ac:chgData name="SENTIS Valentine" userId="245efd82-0d43-4922-a685-87f861c39e87" providerId="ADAL" clId="{0AD3EFE4-96BD-484C-B817-A897FD293D0A}" dt="2024-10-30T08:57:06.348" v="32"/>
          <ac:spMkLst>
            <pc:docMk/>
            <pc:sldMk cId="524006569" sldId="301"/>
            <ac:spMk id="5" creationId="{639681E9-6A85-4A89-C501-B809D0E4BA2E}"/>
          </ac:spMkLst>
        </pc:spChg>
      </pc:sldChg>
      <pc:sldChg chg="addSp modSp">
        <pc:chgData name="SENTIS Valentine" userId="245efd82-0d43-4922-a685-87f861c39e87" providerId="ADAL" clId="{0AD3EFE4-96BD-484C-B817-A897FD293D0A}" dt="2024-10-30T08:57:05.011" v="31"/>
        <pc:sldMkLst>
          <pc:docMk/>
          <pc:sldMk cId="408886570" sldId="302"/>
        </pc:sldMkLst>
        <pc:spChg chg="add mod">
          <ac:chgData name="SENTIS Valentine" userId="245efd82-0d43-4922-a685-87f861c39e87" providerId="ADAL" clId="{0AD3EFE4-96BD-484C-B817-A897FD293D0A}" dt="2024-10-30T08:57:05.011" v="31"/>
          <ac:spMkLst>
            <pc:docMk/>
            <pc:sldMk cId="408886570" sldId="302"/>
            <ac:spMk id="2" creationId="{314FDF3A-1271-EA9D-6D9F-5ECE9D092234}"/>
          </ac:spMkLst>
        </pc:spChg>
      </pc:sldChg>
      <pc:sldChg chg="addSp modSp">
        <pc:chgData name="SENTIS Valentine" userId="245efd82-0d43-4922-a685-87f861c39e87" providerId="ADAL" clId="{0AD3EFE4-96BD-484C-B817-A897FD293D0A}" dt="2024-10-30T08:57:13.852" v="38"/>
        <pc:sldMkLst>
          <pc:docMk/>
          <pc:sldMk cId="2884910357" sldId="304"/>
        </pc:sldMkLst>
        <pc:spChg chg="add mod">
          <ac:chgData name="SENTIS Valentine" userId="245efd82-0d43-4922-a685-87f861c39e87" providerId="ADAL" clId="{0AD3EFE4-96BD-484C-B817-A897FD293D0A}" dt="2024-10-30T08:57:13.852" v="38"/>
          <ac:spMkLst>
            <pc:docMk/>
            <pc:sldMk cId="2884910357" sldId="304"/>
            <ac:spMk id="2" creationId="{CE60B017-B834-5259-787E-E3D80C348637}"/>
          </ac:spMkLst>
        </pc:spChg>
      </pc:sldChg>
      <pc:sldChg chg="addSp modSp mod">
        <pc:chgData name="SENTIS Valentine" userId="245efd82-0d43-4922-a685-87f861c39e87" providerId="ADAL" clId="{0AD3EFE4-96BD-484C-B817-A897FD293D0A}" dt="2024-11-07T10:45:47.158" v="207" actId="20577"/>
        <pc:sldMkLst>
          <pc:docMk/>
          <pc:sldMk cId="2569779760" sldId="306"/>
        </pc:sldMkLst>
        <pc:spChg chg="mod">
          <ac:chgData name="SENTIS Valentine" userId="245efd82-0d43-4922-a685-87f861c39e87" providerId="ADAL" clId="{0AD3EFE4-96BD-484C-B817-A897FD293D0A}" dt="2024-10-30T08:56:50.461" v="25" actId="1076"/>
          <ac:spMkLst>
            <pc:docMk/>
            <pc:sldMk cId="2569779760" sldId="306"/>
            <ac:spMk id="2" creationId="{00000000-0000-0000-0000-000000000000}"/>
          </ac:spMkLst>
        </pc:spChg>
        <pc:spChg chg="mod">
          <ac:chgData name="SENTIS Valentine" userId="245efd82-0d43-4922-a685-87f861c39e87" providerId="ADAL" clId="{0AD3EFE4-96BD-484C-B817-A897FD293D0A}" dt="2024-11-07T10:45:47.158" v="207" actId="20577"/>
          <ac:spMkLst>
            <pc:docMk/>
            <pc:sldMk cId="2569779760" sldId="306"/>
            <ac:spMk id="4" creationId="{00000000-0000-0000-0000-000000000000}"/>
          </ac:spMkLst>
        </pc:spChg>
        <pc:spChg chg="add mod">
          <ac:chgData name="SENTIS Valentine" userId="245efd82-0d43-4922-a685-87f861c39e87" providerId="ADAL" clId="{0AD3EFE4-96BD-484C-B817-A897FD293D0A}" dt="2024-10-30T08:56:47.804" v="24" actId="1076"/>
          <ac:spMkLst>
            <pc:docMk/>
            <pc:sldMk cId="2569779760" sldId="306"/>
            <ac:spMk id="5" creationId="{152B397B-C768-0486-6BC1-36EEB53D0C64}"/>
          </ac:spMkLst>
        </pc:spChg>
      </pc:sldChg>
      <pc:sldChg chg="addSp modSp">
        <pc:chgData name="SENTIS Valentine" userId="245efd82-0d43-4922-a685-87f861c39e87" providerId="ADAL" clId="{0AD3EFE4-96BD-484C-B817-A897FD293D0A}" dt="2024-10-30T08:57:10.172" v="35"/>
        <pc:sldMkLst>
          <pc:docMk/>
          <pc:sldMk cId="2521338729" sldId="307"/>
        </pc:sldMkLst>
        <pc:spChg chg="add mod">
          <ac:chgData name="SENTIS Valentine" userId="245efd82-0d43-4922-a685-87f861c39e87" providerId="ADAL" clId="{0AD3EFE4-96BD-484C-B817-A897FD293D0A}" dt="2024-10-30T08:57:10.172" v="35"/>
          <ac:spMkLst>
            <pc:docMk/>
            <pc:sldMk cId="2521338729" sldId="307"/>
            <ac:spMk id="2" creationId="{5BFB3FF8-6654-62C3-D326-77270CF7E55E}"/>
          </ac:spMkLst>
        </pc:spChg>
      </pc:sldChg>
      <pc:sldChg chg="addSp modSp">
        <pc:chgData name="SENTIS Valentine" userId="245efd82-0d43-4922-a685-87f861c39e87" providerId="ADAL" clId="{0AD3EFE4-96BD-484C-B817-A897FD293D0A}" dt="2024-10-30T08:57:11.521" v="36"/>
        <pc:sldMkLst>
          <pc:docMk/>
          <pc:sldMk cId="510107571" sldId="308"/>
        </pc:sldMkLst>
        <pc:spChg chg="add mod">
          <ac:chgData name="SENTIS Valentine" userId="245efd82-0d43-4922-a685-87f861c39e87" providerId="ADAL" clId="{0AD3EFE4-96BD-484C-B817-A897FD293D0A}" dt="2024-10-30T08:57:11.521" v="36"/>
          <ac:spMkLst>
            <pc:docMk/>
            <pc:sldMk cId="510107571" sldId="308"/>
            <ac:spMk id="2" creationId="{2BA8BA75-C002-0DB3-FDCB-F069D9B139A8}"/>
          </ac:spMkLst>
        </pc:spChg>
      </pc:sldChg>
      <pc:sldChg chg="addSp modSp">
        <pc:chgData name="SENTIS Valentine" userId="245efd82-0d43-4922-a685-87f861c39e87" providerId="ADAL" clId="{0AD3EFE4-96BD-484C-B817-A897FD293D0A}" dt="2024-10-30T08:57:12.713" v="37"/>
        <pc:sldMkLst>
          <pc:docMk/>
          <pc:sldMk cId="2858997803" sldId="309"/>
        </pc:sldMkLst>
        <pc:spChg chg="add mod">
          <ac:chgData name="SENTIS Valentine" userId="245efd82-0d43-4922-a685-87f861c39e87" providerId="ADAL" clId="{0AD3EFE4-96BD-484C-B817-A897FD293D0A}" dt="2024-10-30T08:57:12.713" v="37"/>
          <ac:spMkLst>
            <pc:docMk/>
            <pc:sldMk cId="2858997803" sldId="309"/>
            <ac:spMk id="3" creationId="{6B0E09C9-3AA5-68AA-7A3F-313A5213F252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07/11/202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07/11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741363"/>
            <a:ext cx="6578600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E8D156C6-03BC-429A-B8E2-85717571D2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3"/>
            <a:ext cx="12192000" cy="5174343"/>
          </a:xfrm>
          <a:prstGeom prst="rect">
            <a:avLst/>
          </a:prstGeom>
          <a:noFill/>
        </p:spPr>
      </p:pic>
      <p:sp>
        <p:nvSpPr>
          <p:cNvPr id="12" name="Freeform 8">
            <a:extLst>
              <a:ext uri="{FF2B5EF4-FFF2-40B4-BE49-F238E27FC236}">
                <a16:creationId xmlns:a16="http://schemas.microsoft.com/office/drawing/2014/main" id="{35BC1E30-8755-4B0E-A414-96BAF9215780}"/>
              </a:ext>
            </a:extLst>
          </p:cNvPr>
          <p:cNvSpPr>
            <a:spLocks/>
          </p:cNvSpPr>
          <p:nvPr userDrawn="1"/>
        </p:nvSpPr>
        <p:spPr bwMode="auto">
          <a:xfrm>
            <a:off x="96" y="4899494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fr-FR" sz="1544" dirty="0">
              <a:solidFill>
                <a:srgbClr val="40404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456922-9E18-4350-A4F0-461D002EC9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5047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A94C7FE-E538-433A-A9B3-07A413D31F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5047" y="899104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0">
                <a:solidFill>
                  <a:schemeClr val="bg1">
                    <a:lumMod val="50000"/>
                  </a:schemeClr>
                </a:solidFill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6C01BB6-37BD-4A91-8D17-24AFCDCD9D82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308" y="5237721"/>
            <a:ext cx="1558276" cy="78467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8FCE48A-8178-4250-B2D5-2A8E973EB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20" y="5060392"/>
            <a:ext cx="1268374" cy="1149170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1D5F6CA3-CFF4-472C-913E-040ABCED1EF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93085" y="5060392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9DB9FD6A-8F15-4E46-A414-10C1F284AA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l="2307" b="49"/>
          <a:stretch>
            <a:fillRect/>
          </a:stretch>
        </p:blipFill>
        <p:spPr bwMode="gray">
          <a:xfrm rot="16200000">
            <a:off x="-439716" y="439719"/>
            <a:ext cx="6858002" cy="5978569"/>
          </a:xfrm>
          <a:prstGeom prst="rect">
            <a:avLst/>
          </a:prstGeom>
          <a:noFill/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AE4633F-0FA4-439F-A312-639D18BB95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739442" y="2438400"/>
            <a:ext cx="5103388" cy="1714500"/>
          </a:xfrm>
        </p:spPr>
        <p:txBody>
          <a:bodyPr anchor="ctr"/>
          <a:lstStyle>
            <a:lvl1pPr algn="ctr">
              <a:defRPr sz="26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2A0038E-C6AC-4E98-A73A-1E0AF9CB1148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396" y="5050557"/>
            <a:ext cx="1558276" cy="784679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F9D055A-9798-42D0-9192-65C6F330DF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308" y="4873228"/>
            <a:ext cx="1268374" cy="1149170"/>
          </a:xfrm>
          <a:prstGeom prst="rect">
            <a:avLst/>
          </a:prstGeom>
        </p:spPr>
      </p:pic>
      <p:pic>
        <p:nvPicPr>
          <p:cNvPr id="17" name="Graphique 16">
            <a:extLst>
              <a:ext uri="{FF2B5EF4-FFF2-40B4-BE49-F238E27FC236}">
                <a16:creationId xmlns:a16="http://schemas.microsoft.com/office/drawing/2014/main" id="{89B17736-FC10-44BD-979A-44867FF5D1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68173" y="4873228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D4F83B-957D-469C-AE2C-E27386EBF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B05641A-FDB2-4CA2-BB65-E661EC394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437587B-920B-4DDE-8551-C95DCC49A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568FA009-7910-4AD0-9120-431AA7406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64BF16-2A69-41BD-83F1-E5680E3097FC}"/>
              </a:ext>
            </a:extLst>
          </p:cNvPr>
          <p:cNvSpPr/>
          <p:nvPr userDrawn="1"/>
        </p:nvSpPr>
        <p:spPr>
          <a:xfrm>
            <a:off x="6353619" y="2093063"/>
            <a:ext cx="522907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BA4660-F825-4EAB-A011-D08DD342A5AE}"/>
              </a:ext>
            </a:extLst>
          </p:cNvPr>
          <p:cNvSpPr/>
          <p:nvPr userDrawn="1"/>
        </p:nvSpPr>
        <p:spPr>
          <a:xfrm>
            <a:off x="609738" y="2093063"/>
            <a:ext cx="531650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ColumnHeader">
            <a:extLst>
              <a:ext uri="{FF2B5EF4-FFF2-40B4-BE49-F238E27FC236}">
                <a16:creationId xmlns:a16="http://schemas.microsoft.com/office/drawing/2014/main" id="{2A48C99B-6575-418E-A6C0-E0ACE1B7E96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38" y="1742967"/>
            <a:ext cx="531650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ColumnHeader">
            <a:extLst>
              <a:ext uri="{FF2B5EF4-FFF2-40B4-BE49-F238E27FC236}">
                <a16:creationId xmlns:a16="http://schemas.microsoft.com/office/drawing/2014/main" id="{56B2AAC2-B159-4167-8974-2D911347DC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353619" y="1742967"/>
            <a:ext cx="522907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37CBA9F-89A7-4C62-8F9D-B2A41A3883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738" y="1662176"/>
            <a:ext cx="531650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C38CB27-1852-4FBD-B520-52367B6784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53619" y="1662176"/>
            <a:ext cx="522907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6C5EDBC-D308-4974-842E-727A1EF7D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496" y="2194912"/>
            <a:ext cx="5080930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C2C95E9-1B51-4F17-83C8-AFAC49F23F8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474212" y="2194912"/>
            <a:ext cx="4997375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4F8B998B-23C9-4B21-B85B-141C209B4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A9E6A3-6917-4D0F-A0CB-5F4943AAD7D8}"/>
              </a:ext>
            </a:extLst>
          </p:cNvPr>
          <p:cNvSpPr/>
          <p:nvPr userDrawn="1"/>
        </p:nvSpPr>
        <p:spPr>
          <a:xfrm>
            <a:off x="609778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4" name="ColumnHeader">
            <a:extLst>
              <a:ext uri="{FF2B5EF4-FFF2-40B4-BE49-F238E27FC236}">
                <a16:creationId xmlns:a16="http://schemas.microsoft.com/office/drawing/2014/main" id="{582329B8-463A-4805-B705-F14B4A13295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674480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3CF3D22-175B-41BB-BCDD-8D30226953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778" y="1534967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Chart Placeholder 13">
            <a:extLst>
              <a:ext uri="{FF2B5EF4-FFF2-40B4-BE49-F238E27FC236}">
                <a16:creationId xmlns:a16="http://schemas.microsoft.com/office/drawing/2014/main" id="{49C146DF-9681-4E62-B0AA-49A8ACABE841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09F0B34-0418-4F93-BC6B-034383AD163F}"/>
              </a:ext>
            </a:extLst>
          </p:cNvPr>
          <p:cNvSpPr/>
          <p:nvPr userDrawn="1"/>
        </p:nvSpPr>
        <p:spPr>
          <a:xfrm>
            <a:off x="6577165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6" name="ColumnHeader">
            <a:extLst>
              <a:ext uri="{FF2B5EF4-FFF2-40B4-BE49-F238E27FC236}">
                <a16:creationId xmlns:a16="http://schemas.microsoft.com/office/drawing/2014/main" id="{D98EA85C-7DFF-4419-B97D-94403475615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577165" y="1632539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CFF439D7-19AF-4E7F-9BE3-AB43C62B52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165" y="1551748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8" name="Chart Placeholder 13">
            <a:extLst>
              <a:ext uri="{FF2B5EF4-FFF2-40B4-BE49-F238E27FC236}">
                <a16:creationId xmlns:a16="http://schemas.microsoft.com/office/drawing/2014/main" id="{FDD8475E-F3FB-4F57-95A6-166A75B04E2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688061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2C5904AE-7178-47CC-9B57-DAAB0FEE820A}"/>
              </a:ext>
            </a:extLst>
          </p:cNvPr>
          <p:cNvSpPr/>
          <p:nvPr userDrawn="1"/>
        </p:nvSpPr>
        <p:spPr>
          <a:xfrm>
            <a:off x="609778" y="2301961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3550B5E-6CA1-4DF9-B6CF-A320B87EE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4DD819C-92DA-49C0-8DEF-2C27B66378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7165" y="1819275"/>
            <a:ext cx="5005599" cy="3985988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ColumnHeader">
            <a:extLst>
              <a:ext uri="{FF2B5EF4-FFF2-40B4-BE49-F238E27FC236}">
                <a16:creationId xmlns:a16="http://schemas.microsoft.com/office/drawing/2014/main" id="{4440DCFD-0085-468E-81A6-DA59EF3FD5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951318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1D9FB97-33B2-4393-8ED1-706963955F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778" y="1870526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Chart Placeholder 13">
            <a:extLst>
              <a:ext uri="{FF2B5EF4-FFF2-40B4-BE49-F238E27FC236}">
                <a16:creationId xmlns:a16="http://schemas.microsoft.com/office/drawing/2014/main" id="{7B517CD6-AA66-4297-A968-58549132906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396761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33E3A3-F1E2-403D-A748-447596BB0FCE}"/>
              </a:ext>
            </a:extLst>
          </p:cNvPr>
          <p:cNvSpPr/>
          <p:nvPr userDrawn="1"/>
        </p:nvSpPr>
        <p:spPr>
          <a:xfrm>
            <a:off x="609778" y="4462199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9" name="ColumnHeader">
            <a:extLst>
              <a:ext uri="{FF2B5EF4-FFF2-40B4-BE49-F238E27FC236}">
                <a16:creationId xmlns:a16="http://schemas.microsoft.com/office/drawing/2014/main" id="{8F27F4CF-7BFA-4C23-88C7-9B8E4CF42C9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4111684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DD803048-9553-43A6-A6EC-E4F19388EF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778" y="4030894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Chart Placeholder 13">
            <a:extLst>
              <a:ext uri="{FF2B5EF4-FFF2-40B4-BE49-F238E27FC236}">
                <a16:creationId xmlns:a16="http://schemas.microsoft.com/office/drawing/2014/main" id="{0F66F093-971F-4639-A65C-5989CF5A7A8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720675" y="4556999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F5357F6F-A53A-4F37-B873-75EDE1249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70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Table Placeholder 13">
            <a:extLst>
              <a:ext uri="{FF2B5EF4-FFF2-40B4-BE49-F238E27FC236}">
                <a16:creationId xmlns:a16="http://schemas.microsoft.com/office/drawing/2014/main" id="{EC9A99E5-FC1F-47ED-8B6B-DD60AD71DE1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819279"/>
            <a:ext cx="109728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18" Type="http://schemas.openxmlformats.org/officeDocument/2006/relationships/image" Target="../media/image6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819275"/>
            <a:ext cx="109728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4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12192000" cy="1219200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274768"/>
            <a:ext cx="109728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A551853-6517-4A2E-B92B-9A9BE102476B}"/>
              </a:ext>
            </a:extLst>
          </p:cNvPr>
          <p:cNvPicPr/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594" y="6370462"/>
            <a:ext cx="725040" cy="365098"/>
          </a:xfrm>
          <a:prstGeom prst="rect">
            <a:avLst/>
          </a:prstGeom>
        </p:spPr>
      </p:pic>
      <p:sp>
        <p:nvSpPr>
          <p:cNvPr id="14" name="TextBox 14">
            <a:extLst>
              <a:ext uri="{FF2B5EF4-FFF2-40B4-BE49-F238E27FC236}">
                <a16:creationId xmlns:a16="http://schemas.microsoft.com/office/drawing/2014/main" id="{3DACF840-99C5-46B4-BBE2-7F5B5AAADD5B}"/>
              </a:ext>
            </a:extLst>
          </p:cNvPr>
          <p:cNvSpPr txBox="1"/>
          <p:nvPr userDrawn="1"/>
        </p:nvSpPr>
        <p:spPr bwMode="gray">
          <a:xfrm>
            <a:off x="2352864" y="6503491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chemeClr val="tx1"/>
                </a:solidFill>
              </a:rPr>
              <a:t>Présentation</a:t>
            </a:r>
            <a:r>
              <a:rPr lang="fr-FR" sz="800" baseline="0" dirty="0">
                <a:solidFill>
                  <a:schemeClr val="tx1"/>
                </a:solidFill>
              </a:rPr>
              <a:t> projet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535ECA79-F394-48ED-861B-FE14FE6F1DAD}"/>
              </a:ext>
            </a:extLst>
          </p:cNvPr>
          <p:cNvSpPr txBox="1"/>
          <p:nvPr userDrawn="1"/>
        </p:nvSpPr>
        <p:spPr bwMode="gray">
          <a:xfrm>
            <a:off x="293926" y="6508931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8" name="Espace réservé du numéro de diapositive 6">
            <a:extLst>
              <a:ext uri="{FF2B5EF4-FFF2-40B4-BE49-F238E27FC236}">
                <a16:creationId xmlns:a16="http://schemas.microsoft.com/office/drawing/2014/main" id="{9D318767-CE1B-47D4-A69E-ECD55C7531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5629" y="6370462"/>
            <a:ext cx="714828" cy="365125"/>
          </a:xfrm>
          <a:prstGeom prst="rect">
            <a:avLst/>
          </a:prstGeom>
        </p:spPr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44CB3A8-5153-4FB2-ABEA-09C88D3F0D5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26" y="6318078"/>
            <a:ext cx="518634" cy="469892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E4BBCEA9-8EBD-436E-8D71-20CFF5618DA8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17960" y="6318078"/>
            <a:ext cx="412059" cy="469892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75CCD92F-FE4B-482C-97B7-F3C43D599ED4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2065695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4582926" y="6006923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9334245" y="5883813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3302026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334789" y="410029"/>
            <a:ext cx="8796510" cy="488950"/>
          </a:xfrm>
        </p:spPr>
        <p:txBody>
          <a:bodyPr/>
          <a:lstStyle/>
          <a:p>
            <a:r>
              <a:rPr lang="fr-FR" sz="24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4294967295"/>
          </p:nvPr>
        </p:nvSpPr>
        <p:spPr>
          <a:xfrm>
            <a:off x="334789" y="899102"/>
            <a:ext cx="8796510" cy="390525"/>
          </a:xfrm>
        </p:spPr>
        <p:txBody>
          <a:bodyPr/>
          <a:lstStyle/>
          <a:p>
            <a:r>
              <a:rPr lang="fr-FR" b="1" dirty="0"/>
              <a:t>Stratégie :  </a:t>
            </a:r>
            <a:r>
              <a:rPr lang="fr-FR" b="1" dirty="0">
                <a:highlight>
                  <a:srgbClr val="FFFF00"/>
                </a:highlight>
              </a:rPr>
              <a:t>XXX</a:t>
            </a:r>
          </a:p>
          <a:p>
            <a:r>
              <a:rPr lang="fr-FR" b="1" dirty="0"/>
              <a:t>Appel à Projet : </a:t>
            </a:r>
            <a:r>
              <a:rPr lang="fr-FR" b="1" dirty="0">
                <a:highlight>
                  <a:srgbClr val="FFFF00"/>
                </a:highlight>
              </a:rPr>
              <a:t>XXX</a:t>
            </a:r>
            <a:endParaRPr lang="fr-FR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1638299" y="2061136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31659" y="1600201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455B9E8-8A33-0D21-07E9-DEA392FB1F74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 3b et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686301" y="1819276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D8BD097-9FF4-99C2-6CBC-1CB4A1495886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8. Modèle économique</a:t>
            </a:r>
            <a:br>
              <a:rPr lang="fr-FR" dirty="0"/>
            </a:br>
            <a:r>
              <a:rPr lang="fr-FR" b="0" dirty="0"/>
              <a:t>(cf. Annexe 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669972" y="1819276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/>
              <a:t>Coûts </a:t>
            </a:r>
            <a:r>
              <a:rPr lang="fr-FR" b="0" i="1" dirty="0"/>
              <a:t>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FB3FF8-6654-62C3-D326-77270CF7E55E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9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28335391"/>
              </p:ext>
            </p:extLst>
          </p:nvPr>
        </p:nvGraphicFramePr>
        <p:xfrm>
          <a:off x="1638302" y="1431637"/>
          <a:ext cx="9239827" cy="4775199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2BA8BA75-C002-0DB3-FDCB-F069D9B139A8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0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1638300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1727507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0E09C9-3AA5-68AA-7A3F-313A5213F252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3b, 6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377376" y="1819276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E60B017-B834-5259-787E-E3D80C348637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4294967295"/>
          </p:nvPr>
        </p:nvSpPr>
        <p:spPr>
          <a:xfrm>
            <a:off x="1638301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fonction « contact » sur la page de l’appel à projet) pour organiser une réunion de pré-dépôt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de l’art en matière d’innovation vis-à-vis du projet 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 et non engageantes.</a:t>
            </a: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slides ci-dessous peuvent être adaptées en fonction de la particularité du projet.</a:t>
            </a:r>
          </a:p>
        </p:txBody>
      </p:sp>
      <p:sp>
        <p:nvSpPr>
          <p:cNvPr id="2" name="Rectangle 1"/>
          <p:cNvSpPr/>
          <p:nvPr/>
        </p:nvSpPr>
        <p:spPr>
          <a:xfrm>
            <a:off x="1638301" y="5981084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52B397B-C768-0486-6BC1-36EEB53D0C64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XXXXX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PIA demandée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projet : XX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tion industrialisation : XXX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638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1638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1638301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6453974" y="117739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C11AE84-B925-804B-4EDF-41411F407609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77376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86D31E4-C71D-C555-8302-DDD62E5A5289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045572" y="1819276"/>
            <a:ext cx="5536069" cy="2921536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ractère innovant du projet 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7051554-0FF6-2DCA-D790-EEC27DF4DDE3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r>
              <a:rPr lang="fr-FR" b="0" dirty="0"/>
              <a:t>(cf. Annexe 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5452606" y="1819275"/>
            <a:ext cx="5101094" cy="2909888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C6D8C3A-55A1-09D7-3FD6-CE492B2E14BB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63308" y="1819276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7883CD-0666-BB89-A170-EA71E98A3E28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5. Partenariat (1/2)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053818" y="1809954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 avec 5 partenaires financés maximum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14FDF3A-1271-EA9D-6D9F-5ECE9D092234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5. Partenariat (2/2)</a:t>
            </a:r>
            <a:br>
              <a:rPr lang="fr-FR" dirty="0"/>
            </a:br>
            <a:r>
              <a:rPr lang="fr-FR" b="0" dirty="0"/>
              <a:t>(cf. Annexe 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1638299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2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3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4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Chiffre d’affaire (préciser année)</a:t>
                      </a:r>
                      <a:endParaRPr lang="fr-FR" sz="1400" dirty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Total</a:t>
                      </a:r>
                      <a:r>
                        <a:rPr lang="fr-FR" sz="1100" baseline="0" dirty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569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Ajuster les colonnes selon le profil du projet, de </a:t>
            </a:r>
            <a:r>
              <a:rPr lang="fr-FR" b="0" i="1" dirty="0" err="1"/>
              <a:t>monopartenaire</a:t>
            </a:r>
            <a:r>
              <a:rPr lang="fr-FR" b="0" i="1" dirty="0"/>
              <a:t> à 5 partenaires financés (dont le coordonnateur)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39681E9-6A85-4A89-C501-B809D0E4BA2E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4236460BACF14F8124E54B96D4F871" ma:contentTypeVersion="19" ma:contentTypeDescription="Crée un document." ma:contentTypeScope="" ma:versionID="8e5a34eb6c13d73cc4da678daf69b9d9">
  <xsd:schema xmlns:xsd="http://www.w3.org/2001/XMLSchema" xmlns:xs="http://www.w3.org/2001/XMLSchema" xmlns:p="http://schemas.microsoft.com/office/2006/metadata/properties" xmlns:ns2="2a5e44a5-5f11-428a-a25c-c47a3e8cab48" xmlns:ns3="fdf58644-03cd-470f-a924-695d40eb6135" targetNamespace="http://schemas.microsoft.com/office/2006/metadata/properties" ma:root="true" ma:fieldsID="8f57ae2672029d75857096260f4719d9" ns2:_="" ns3:_="">
    <xsd:import namespace="2a5e44a5-5f11-428a-a25c-c47a3e8cab48"/>
    <xsd:import namespace="fdf58644-03cd-470f-a924-695d40eb6135"/>
    <xsd:element name="properties">
      <xsd:complexType>
        <xsd:sequence>
          <xsd:element name="documentManagement">
            <xsd:complexType>
              <xsd:all>
                <xsd:element ref="ns2:Ressources" minOccurs="0"/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DateTaken" minOccurs="0"/>
                <xsd:element ref="ns2:NbProjetscontractualis_x00e9_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5e44a5-5f11-428a-a25c-c47a3e8cab48" elementFormDefault="qualified">
    <xsd:import namespace="http://schemas.microsoft.com/office/2006/documentManagement/types"/>
    <xsd:import namespace="http://schemas.microsoft.com/office/infopath/2007/PartnerControls"/>
    <xsd:element name="Ressources" ma:index="3" nillable="true" ma:displayName="Ressources" ma:format="Dropdown" ma:internalName="Ressources" ma:readOnly="false">
      <xsd:simpleType>
        <xsd:restriction base="dms:Text">
          <xsd:maxLength value="255"/>
        </xsd:restriction>
      </xsd:simple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Balises d’images" ma:readOnly="false" ma:fieldId="{5cf76f15-5ced-4ddc-b409-7134ff3c332f}" ma:taxonomyMulti="true" ma:sspId="faaaa922-7a9d-4888-b0c0-3cd0453685d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hidden="true" ma:internalName="MediaServiceOCR" ma:readOnly="true">
      <xsd:simpleType>
        <xsd:restriction base="dms:Note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NbProjetscontractualis_x00e9_s" ma:index="21" nillable="true" ma:displayName="Nb Projets contractualisés" ma:decimals="0" ma:format="Dropdown" ma:hidden="true" ma:internalName="NbProjetscontractualis_x00e9_s" ma:readOnly="false" ma:percentage="FALSE">
      <xsd:simpleType>
        <xsd:restriction base="dms:Number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f58644-03cd-470f-a924-695d40eb6135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fb56114b-f27f-4b72-b2a8-f9562c8da8b2}" ma:internalName="TaxCatchAll" ma:readOnly="false" ma:showField="CatchAllData" ma:web="fdf58644-03cd-470f-a924-695d40eb613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Partagé avec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Partagé avec détails" ma:hidden="true" ma:internalName="SharedWithDetail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Type de contenu"/>
        <xsd:element ref="dc:title" minOccurs="0" maxOccurs="1" ma:index="1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a5e44a5-5f11-428a-a25c-c47a3e8cab48">
      <Terms xmlns="http://schemas.microsoft.com/office/infopath/2007/PartnerControls"/>
    </lcf76f155ced4ddcb4097134ff3c332f>
    <TaxCatchAll xmlns="fdf58644-03cd-470f-a924-695d40eb6135" xsi:nil="true"/>
    <Ressources xmlns="2a5e44a5-5f11-428a-a25c-c47a3e8cab48" xsi:nil="true"/>
    <NbProjetscontractualis_x00e9_s xmlns="2a5e44a5-5f11-428a-a25c-c47a3e8cab48" xsi:nil="true"/>
  </documentManagement>
</p:properties>
</file>

<file path=customXml/itemProps1.xml><?xml version="1.0" encoding="utf-8"?>
<ds:datastoreItem xmlns:ds="http://schemas.openxmlformats.org/officeDocument/2006/customXml" ds:itemID="{EF0EB3A5-0872-4305-AC1C-28377C9E60FA}"/>
</file>

<file path=customXml/itemProps2.xml><?xml version="1.0" encoding="utf-8"?>
<ds:datastoreItem xmlns:ds="http://schemas.openxmlformats.org/officeDocument/2006/customXml" ds:itemID="{99EF9B0F-3512-44BF-A6FF-8ED443A3515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B8E6A5A-94BD-4F16-BDBC-84E55EB09A97}">
  <ds:schemaRefs>
    <ds:schemaRef ds:uri="http://schemas.microsoft.com/office/2006/metadata/properties"/>
    <ds:schemaRef ds:uri="http://schemas.microsoft.com/office/infopath/2007/PartnerControls"/>
    <ds:schemaRef ds:uri="2a5e44a5-5f11-428a-a25c-c47a3e8cab48"/>
    <ds:schemaRef ds:uri="fdf58644-03cd-470f-a924-695d40eb613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389</TotalTime>
  <Words>1653</Words>
  <Application>Microsoft Office PowerPoint</Application>
  <PresentationFormat>Grand écran</PresentationFormat>
  <Paragraphs>223</Paragraphs>
  <Slides>15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5" baseType="lpstr">
      <vt:lpstr>ＭＳ Ｐゴシック</vt:lpstr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XXXXX</vt:lpstr>
      <vt:lpstr>1. Contexte et enjeux du projet (cf. Annexe 3a) </vt:lpstr>
      <vt:lpstr>2. Etat de l’art et verrous à lever  (cf. Annexe 3a) </vt:lpstr>
      <vt:lpstr>3. Solution ou service développé 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) </vt:lpstr>
      <vt:lpstr>7. Marché(s) visé(s) (cf. Annexe 3b et 6) </vt:lpstr>
      <vt:lpstr>8. Modèle économique (cf. Annexe 3b) </vt:lpstr>
      <vt:lpstr>9. Impacts emploi et économiques (cf. Annexe 5) </vt:lpstr>
      <vt:lpstr>10. Impacts environnementaux (cf. Annexe 5) </vt:lpstr>
      <vt:lpstr>11. Plan de financement du projet (cf. Annexe 3b, 6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SENTIS Valentine</cp:lastModifiedBy>
  <cp:revision>823</cp:revision>
  <cp:lastPrinted>2017-04-19T15:45:38Z</cp:lastPrinted>
  <dcterms:created xsi:type="dcterms:W3CDTF">2015-06-10T16:17:23Z</dcterms:created>
  <dcterms:modified xsi:type="dcterms:W3CDTF">2024-11-07T10:45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34236460BACF14F8124E54B96D4F871</vt:lpwstr>
  </property>
  <property fmtid="{D5CDD505-2E9C-101B-9397-08002B2CF9AE}" pid="3" name="MediaServiceImageTags">
    <vt:lpwstr/>
  </property>
</Properties>
</file>